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1"/>
    <p:sldMasterId id="2147483653" r:id="rId2"/>
  </p:sldMasterIdLst>
  <p:notesMasterIdLst>
    <p:notesMasterId r:id="rId18"/>
  </p:notesMasterIdLst>
  <p:sldIdLst>
    <p:sldId id="258" r:id="rId3"/>
    <p:sldId id="288" r:id="rId4"/>
    <p:sldId id="300" r:id="rId5"/>
    <p:sldId id="301" r:id="rId6"/>
    <p:sldId id="302" r:id="rId7"/>
    <p:sldId id="303" r:id="rId8"/>
    <p:sldId id="304" r:id="rId9"/>
    <p:sldId id="305" r:id="rId10"/>
    <p:sldId id="306" r:id="rId11"/>
    <p:sldId id="289" r:id="rId12"/>
    <p:sldId id="310" r:id="rId13"/>
    <p:sldId id="307" r:id="rId14"/>
    <p:sldId id="308" r:id="rId15"/>
    <p:sldId id="311" r:id="rId16"/>
    <p:sldId id="299" r:id="rId17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89" d="100"/>
          <a:sy n="89" d="100"/>
        </p:scale>
        <p:origin x="1282" y="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DD6C31-76B3-4164-8E76-30C71D3DABCF}" type="datetimeFigureOut">
              <a:rPr lang="zh-CN" altLang="en-US" smtClean="0"/>
              <a:pPr/>
              <a:t>2023/4/1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AE3550-F14F-46E0-B680-402B42ED5913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850481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lum contrast="20000"/>
          </a:blip>
          <a:srcRect t="21962"/>
          <a:stretch>
            <a:fillRect/>
          </a:stretch>
        </p:blipFill>
        <p:spPr bwMode="auto">
          <a:xfrm>
            <a:off x="0" y="1501775"/>
            <a:ext cx="9144000" cy="490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 descr="60驶向辉煌80cmX180cm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clrChange>
              <a:clrFrom>
                <a:srgbClr val="A10311"/>
              </a:clrFrom>
              <a:clrTo>
                <a:srgbClr val="A10311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9159875" cy="4762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zh-CN" altLang="en-US"/>
              <a:t>单击此处编辑母版副标题样式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9B5C0977-9C28-4542-9ABA-399477D60D56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封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440" y="4997250"/>
            <a:ext cx="7773120" cy="64633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600" b="0"/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5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 descr="C:\Users\renshuliang.ZHENGBANG\Desktop\JPG\PPT-05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4" descr="C:\Users\renshuliang.ZHENGBANG\Desktop\logo.png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灯片编号占位符 3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 b="1">
                <a:solidFill>
                  <a:schemeClr val="tx1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fld id="{9B5C0977-9C28-4542-9ABA-399477D60D56}" type="slidenum">
              <a:rPr lang="zh-CN" altLang="en-US" smtClean="0"/>
              <a:pPr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</p:sldLayoutIdLst>
  <p:hf hdr="0" ftr="0" dt="0"/>
  <p:txStyles>
    <p:titleStyle>
      <a:lvl1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  <a:sym typeface="Calibri" pitchFamily="34" charset="0"/>
        </a:defRPr>
      </a:lvl1pPr>
      <a:lvl2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2pPr>
      <a:lvl3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3pPr>
      <a:lvl4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4pPr>
      <a:lvl5pPr marL="914400" indent="-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5pPr>
      <a:lvl6pPr marL="13716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6pPr>
      <a:lvl7pPr marL="18288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7pPr>
      <a:lvl8pPr marL="22860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8pPr>
      <a:lvl9pPr marL="2743200" indent="-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  <a:sym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  <a:sym typeface="Calibri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>
          <a:solidFill>
            <a:schemeClr val="tx1"/>
          </a:solidFill>
          <a:latin typeface="+mn-lt"/>
          <a:ea typeface="+mn-ea"/>
          <a:sym typeface="Calibri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>
          <a:solidFill>
            <a:schemeClr val="tx1"/>
          </a:solidFill>
          <a:latin typeface="+mn-lt"/>
          <a:ea typeface="+mn-ea"/>
          <a:sym typeface="Calibri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  <a:ea typeface="+mn-ea"/>
          <a:sym typeface="Calibri" pitchFamily="34" charset="0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10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5" cstate="print">
            <a:lum contrast="20000"/>
          </a:blip>
          <a:srcRect t="21962"/>
          <a:stretch>
            <a:fillRect/>
          </a:stretch>
        </p:blipFill>
        <p:spPr bwMode="auto">
          <a:xfrm>
            <a:off x="0" y="1501775"/>
            <a:ext cx="9144000" cy="4906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9" descr="60驶向辉煌80cmX180cm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6" cstate="print">
            <a:clrChange>
              <a:clrFrom>
                <a:srgbClr val="A10311"/>
              </a:clrFrom>
              <a:clrTo>
                <a:srgbClr val="A10311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0"/>
            <a:ext cx="9159875" cy="4762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2" name="Picture 121" descr="E:\市场开发部\规划评审\各部门反馈\6 品牌\LOGO\国际公司VI20130605\北汽国际英文组合20130603v1.0.jpg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46904" t="65286" r="13025" b="17357"/>
          <a:stretch>
            <a:fillRect/>
          </a:stretch>
        </p:blipFill>
        <p:spPr bwMode="auto">
          <a:xfrm>
            <a:off x="327025" y="6381750"/>
            <a:ext cx="13716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3" name="Picture 270" descr="C:\Users\Wly\Desktop\QQ截图20130609132425.png"/>
          <p:cNvPicPr>
            <a:picLocks noChangeAspect="1" noChangeArrowheads="1"/>
          </p:cNvPicPr>
          <p:nvPr userDrawn="1"/>
        </p:nvPicPr>
        <p:blipFill>
          <a:blip r:embed="rId8" cstate="print"/>
          <a:srcRect l="50000" t="-21597" r="10040"/>
          <a:stretch>
            <a:fillRect/>
          </a:stretch>
        </p:blipFill>
        <p:spPr bwMode="auto">
          <a:xfrm>
            <a:off x="6710363" y="6381750"/>
            <a:ext cx="1581150" cy="404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charset="0"/>
          <a:ea typeface="微软雅黑" pitchFamily="34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灯片编号占位符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B5C0977-9C28-4542-9ABA-399477D60D56}" type="slidenum">
              <a:rPr lang="zh-CN" altLang="en-US" smtClean="0"/>
              <a:pPr/>
              <a:t>1</a:t>
            </a:fld>
            <a:endParaRPr lang="zh-CN" alt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71600" y="1484784"/>
            <a:ext cx="72728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/>
              <a:t>Анкета кандидата в дилеры       ООО «БАИК РУС»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267744" y="4030032"/>
            <a:ext cx="6264696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Компания:</a:t>
            </a:r>
          </a:p>
          <a:p>
            <a:endParaRPr lang="ru-RU" sz="2000" b="1" dirty="0"/>
          </a:p>
          <a:p>
            <a:r>
              <a:rPr lang="ru-RU" sz="2000" b="1" dirty="0"/>
              <a:t>Город:</a:t>
            </a:r>
          </a:p>
          <a:p>
            <a:endParaRPr lang="ru-RU" sz="2000" b="1" dirty="0"/>
          </a:p>
          <a:p>
            <a:r>
              <a:rPr lang="ru-RU" sz="2000" b="1" dirty="0"/>
              <a:t>Дата: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6067" y="2636912"/>
            <a:ext cx="4896544" cy="3611978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7DDE412C-B6C9-4148-879E-04590E100286}"/>
              </a:ext>
            </a:extLst>
          </p:cNvPr>
          <p:cNvSpPr/>
          <p:nvPr/>
        </p:nvSpPr>
        <p:spPr>
          <a:xfrm>
            <a:off x="683568" y="1052736"/>
            <a:ext cx="8064063" cy="201622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ysClr val="windowText" lastClr="000000"/>
                </a:solidFill>
              </a:rPr>
              <a:t>Планировки предложения должны включать в себя следующие данные:</a:t>
            </a:r>
          </a:p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ysClr val="windowText" lastClr="000000"/>
                </a:solidFill>
              </a:rPr>
              <a:t>Схема выставочного зала </a:t>
            </a:r>
            <a:r>
              <a:rPr lang="en-US" sz="1400" b="1" dirty="0">
                <a:solidFill>
                  <a:sysClr val="windowText" lastClr="000000"/>
                </a:solidFill>
              </a:rPr>
              <a:t>BAIC </a:t>
            </a:r>
            <a:r>
              <a:rPr lang="ru-RU" sz="1400" b="1" dirty="0" smtClean="0">
                <a:solidFill>
                  <a:sysClr val="windowText" lastClr="000000"/>
                </a:solidFill>
              </a:rPr>
              <a:t>от </a:t>
            </a:r>
            <a:r>
              <a:rPr lang="en-US" sz="1400" b="1" dirty="0" smtClean="0">
                <a:solidFill>
                  <a:sysClr val="windowText" lastClr="000000"/>
                </a:solidFill>
              </a:rPr>
              <a:t>45</a:t>
            </a:r>
            <a:r>
              <a:rPr lang="ru-RU" sz="1400" b="1" dirty="0" smtClean="0">
                <a:solidFill>
                  <a:sysClr val="windowText" lastClr="000000"/>
                </a:solidFill>
              </a:rPr>
              <a:t>0</a:t>
            </a:r>
            <a:r>
              <a:rPr lang="en-US" sz="1400" b="1" dirty="0">
                <a:solidFill>
                  <a:sysClr val="windowText" lastClr="000000"/>
                </a:solidFill>
              </a:rPr>
              <a:t>*</a:t>
            </a:r>
            <a:r>
              <a:rPr lang="ru-RU" sz="1400" b="1" dirty="0">
                <a:solidFill>
                  <a:sysClr val="windowText" lastClr="000000"/>
                </a:solidFill>
              </a:rPr>
              <a:t> </a:t>
            </a:r>
            <a:r>
              <a:rPr lang="ru-RU" sz="1400" b="1" dirty="0" err="1">
                <a:solidFill>
                  <a:sysClr val="windowText" lastClr="000000"/>
                </a:solidFill>
              </a:rPr>
              <a:t>кв.м</a:t>
            </a:r>
            <a:r>
              <a:rPr lang="ru-RU" sz="1400" b="1" dirty="0">
                <a:solidFill>
                  <a:sysClr val="windowText" lastClr="000000"/>
                </a:solidFill>
              </a:rPr>
              <a:t>., </a:t>
            </a:r>
            <a:r>
              <a:rPr lang="ru-RU" sz="1400" dirty="0">
                <a:solidFill>
                  <a:sysClr val="windowText" lastClr="000000"/>
                </a:solidFill>
              </a:rPr>
              <a:t>с отметкой зонирования и расположения бренда (в случае мульти-брендового размещения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Требования к выставочному залу</a:t>
            </a:r>
            <a:r>
              <a:rPr lang="en-US" sz="1400" dirty="0">
                <a:solidFill>
                  <a:sysClr val="windowText" lastClr="000000"/>
                </a:solidFill>
              </a:rPr>
              <a:t>  </a:t>
            </a:r>
            <a:r>
              <a:rPr lang="ru-RU" sz="1400" dirty="0">
                <a:solidFill>
                  <a:sysClr val="windowText" lastClr="000000"/>
                </a:solidFill>
              </a:rPr>
              <a:t>в формате эксклюзив:</a:t>
            </a:r>
          </a:p>
          <a:p>
            <a:pPr marL="2114550" lvl="4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Наличие отдельного входа;</a:t>
            </a:r>
          </a:p>
          <a:p>
            <a:pPr marL="2114550" lvl="4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Перегородка высотой не менее 2.5 м., отделяющая выставочный зал </a:t>
            </a:r>
            <a:r>
              <a:rPr lang="en-US" sz="1400" dirty="0">
                <a:solidFill>
                  <a:sysClr val="windowText" lastClr="000000"/>
                </a:solidFill>
              </a:rPr>
              <a:t>BAIC </a:t>
            </a:r>
            <a:r>
              <a:rPr lang="ru-RU" sz="1400" dirty="0">
                <a:solidFill>
                  <a:sysClr val="windowText" lastClr="000000"/>
                </a:solidFill>
              </a:rPr>
              <a:t>от иных марок;</a:t>
            </a:r>
          </a:p>
          <a:p>
            <a:pPr lvl="4"/>
            <a:r>
              <a:rPr lang="ru-RU" sz="1400" dirty="0">
                <a:solidFill>
                  <a:sysClr val="windowText" lastClr="000000"/>
                </a:solidFill>
              </a:rPr>
              <a:t> </a:t>
            </a:r>
          </a:p>
        </p:txBody>
      </p:sp>
      <p:sp>
        <p:nvSpPr>
          <p:cNvPr id="13319" name="TextBox 2"/>
          <p:cNvSpPr>
            <a:spLocks noChangeArrowheads="1"/>
          </p:cNvSpPr>
          <p:nvPr/>
        </p:nvSpPr>
        <p:spPr bwMode="auto">
          <a:xfrm>
            <a:off x="285720" y="261938"/>
            <a:ext cx="608648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Планировка 1го этажа</a:t>
            </a:r>
          </a:p>
        </p:txBody>
      </p:sp>
      <p:sp>
        <p:nvSpPr>
          <p:cNvPr id="15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0</a:t>
            </a:fld>
            <a:endParaRPr lang="zh-CN" altLang="en-US" dirty="0"/>
          </a:p>
        </p:txBody>
      </p:sp>
      <p:sp>
        <p:nvSpPr>
          <p:cNvPr id="8" name="Прямоугольник 7"/>
          <p:cNvSpPr/>
          <p:nvPr/>
        </p:nvSpPr>
        <p:spPr>
          <a:xfrm rot="20002512">
            <a:off x="1138330" y="4654154"/>
            <a:ext cx="4032448" cy="41279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012160" y="3140968"/>
            <a:ext cx="3096344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</a:rPr>
              <a:t>* Обратите внимание:</a:t>
            </a:r>
          </a:p>
          <a:p>
            <a:pPr marL="342900" indent="-342900">
              <a:buAutoNum type="arabicParenR"/>
            </a:pPr>
            <a:r>
              <a:rPr lang="ru-RU" sz="1200" dirty="0" smtClean="0">
                <a:solidFill>
                  <a:srgbClr val="C00000"/>
                </a:solidFill>
              </a:rPr>
              <a:t>Общая </a:t>
            </a:r>
            <a:r>
              <a:rPr lang="ru-RU" sz="1200" dirty="0">
                <a:solidFill>
                  <a:srgbClr val="C00000"/>
                </a:solidFill>
              </a:rPr>
              <a:t>площадь выставочного зала должна составлять не менее </a:t>
            </a:r>
            <a:r>
              <a:rPr lang="en-US" sz="1200" dirty="0" smtClean="0">
                <a:solidFill>
                  <a:srgbClr val="C00000"/>
                </a:solidFill>
              </a:rPr>
              <a:t>45</a:t>
            </a:r>
            <a:r>
              <a:rPr lang="ru-RU" sz="1200" dirty="0" smtClean="0">
                <a:solidFill>
                  <a:srgbClr val="C00000"/>
                </a:solidFill>
              </a:rPr>
              <a:t>0 </a:t>
            </a:r>
            <a:r>
              <a:rPr lang="ru-RU" sz="1200" dirty="0">
                <a:solidFill>
                  <a:srgbClr val="C00000"/>
                </a:solidFill>
              </a:rPr>
              <a:t>кв. м</a:t>
            </a:r>
            <a:r>
              <a:rPr lang="ru-RU" sz="1200" dirty="0" smtClean="0">
                <a:solidFill>
                  <a:srgbClr val="C00000"/>
                </a:solidFill>
              </a:rPr>
              <a:t>., </a:t>
            </a:r>
            <a:endParaRPr lang="ru-RU" sz="1200" dirty="0">
              <a:solidFill>
                <a:srgbClr val="C00000"/>
              </a:solidFill>
            </a:endParaRPr>
          </a:p>
          <a:p>
            <a:pPr marL="342900" indent="-342900">
              <a:buAutoNum type="arabicParenR"/>
            </a:pPr>
            <a:r>
              <a:rPr lang="ru-RU" sz="1200" dirty="0">
                <a:solidFill>
                  <a:srgbClr val="C00000"/>
                </a:solidFill>
              </a:rPr>
              <a:t>В</a:t>
            </a:r>
            <a:r>
              <a:rPr lang="ru-RU" sz="1200" dirty="0" smtClean="0">
                <a:solidFill>
                  <a:srgbClr val="C00000"/>
                </a:solidFill>
              </a:rPr>
              <a:t>ысота потолков в выставочном зале не ниже 4м. </a:t>
            </a:r>
          </a:p>
          <a:p>
            <a:pPr marL="342900" indent="-342900">
              <a:buAutoNum type="arabicParenR"/>
            </a:pPr>
            <a:r>
              <a:rPr lang="ru-RU" sz="1200" dirty="0" smtClean="0">
                <a:solidFill>
                  <a:srgbClr val="C00000"/>
                </a:solidFill>
              </a:rPr>
              <a:t>При </a:t>
            </a:r>
            <a:r>
              <a:rPr lang="ru-RU" sz="1200" dirty="0" err="1" smtClean="0">
                <a:solidFill>
                  <a:srgbClr val="C00000"/>
                </a:solidFill>
              </a:rPr>
              <a:t>мультибрендовом</a:t>
            </a:r>
            <a:r>
              <a:rPr lang="ru-RU" sz="1200" dirty="0" smtClean="0">
                <a:solidFill>
                  <a:srgbClr val="C00000"/>
                </a:solidFill>
              </a:rPr>
              <a:t> размещении четко и понятно обозначьте зону выставочного зала для </a:t>
            </a:r>
            <a:r>
              <a:rPr lang="en-US" sz="1200" dirty="0" smtClean="0">
                <a:solidFill>
                  <a:srgbClr val="C00000"/>
                </a:solidFill>
              </a:rPr>
              <a:t>BAIC</a:t>
            </a:r>
            <a:r>
              <a:rPr lang="ru-RU" sz="1200" dirty="0" smtClean="0">
                <a:solidFill>
                  <a:srgbClr val="C00000"/>
                </a:solidFill>
              </a:rPr>
              <a:t>.</a:t>
            </a:r>
          </a:p>
          <a:p>
            <a:pPr marL="342900" indent="-342900">
              <a:buAutoNum type="arabicParenR"/>
            </a:pPr>
            <a:r>
              <a:rPr lang="ru-RU" sz="1200" dirty="0" smtClean="0">
                <a:solidFill>
                  <a:srgbClr val="C00000"/>
                </a:solidFill>
              </a:rPr>
              <a:t>Отметьте на схеме отдельный вход и перегородку, отделяющую выставочный зал </a:t>
            </a:r>
            <a:r>
              <a:rPr lang="en-US" sz="1200" dirty="0" smtClean="0">
                <a:solidFill>
                  <a:srgbClr val="C00000"/>
                </a:solidFill>
              </a:rPr>
              <a:t>BAIC </a:t>
            </a:r>
            <a:r>
              <a:rPr lang="ru-RU" sz="1200" dirty="0" smtClean="0">
                <a:solidFill>
                  <a:srgbClr val="C00000"/>
                </a:solidFill>
              </a:rPr>
              <a:t>от иных брендов.</a:t>
            </a:r>
          </a:p>
          <a:p>
            <a:r>
              <a:rPr lang="ru-RU" sz="1200" b="1" dirty="0">
                <a:solidFill>
                  <a:srgbClr val="C00000"/>
                </a:solidFill>
              </a:rPr>
              <a:t>При </a:t>
            </a:r>
            <a:r>
              <a:rPr lang="ru-RU" sz="1200" b="1" dirty="0" smtClean="0">
                <a:solidFill>
                  <a:srgbClr val="C00000"/>
                </a:solidFill>
              </a:rPr>
              <a:t>не возможности соответствия предлагаемого решения обозначенным требованиям, </a:t>
            </a:r>
            <a:r>
              <a:rPr lang="ru-RU" sz="1200" b="1" dirty="0">
                <a:solidFill>
                  <a:srgbClr val="C00000"/>
                </a:solidFill>
              </a:rPr>
              <a:t>решение может быть признано «временным».</a:t>
            </a:r>
          </a:p>
          <a:p>
            <a:pPr marL="342900" indent="-342900">
              <a:buAutoNum type="arabicParenR"/>
            </a:pPr>
            <a:endParaRPr lang="ru-RU" sz="1200" dirty="0">
              <a:solidFill>
                <a:srgbClr val="C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Фото внешний вид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1</a:t>
            </a:fld>
            <a:endParaRPr lang="zh-CN" altLang="en-US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8E0F6584-E565-405D-83AD-D4CB63EF168D}"/>
              </a:ext>
            </a:extLst>
          </p:cNvPr>
          <p:cNvSpPr/>
          <p:nvPr/>
        </p:nvSpPr>
        <p:spPr>
          <a:xfrm>
            <a:off x="402021" y="1124744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1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152528A6-1F0C-40E9-BDDA-6149F3CAA3B4}"/>
              </a:ext>
            </a:extLst>
          </p:cNvPr>
          <p:cNvSpPr/>
          <p:nvPr/>
        </p:nvSpPr>
        <p:spPr>
          <a:xfrm>
            <a:off x="3259521" y="1124744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2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881354D4-EC0C-4003-8F34-5F573CFF9412}"/>
              </a:ext>
            </a:extLst>
          </p:cNvPr>
          <p:cNvSpPr/>
          <p:nvPr/>
        </p:nvSpPr>
        <p:spPr>
          <a:xfrm>
            <a:off x="6117021" y="1124744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3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6F9A6B05-DC41-433E-9BD3-5624425311D8}"/>
              </a:ext>
            </a:extLst>
          </p:cNvPr>
          <p:cNvSpPr/>
          <p:nvPr/>
        </p:nvSpPr>
        <p:spPr>
          <a:xfrm>
            <a:off x="412527" y="2908883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4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E9C38442-DD99-4A6E-860B-531F98494545}"/>
              </a:ext>
            </a:extLst>
          </p:cNvPr>
          <p:cNvSpPr/>
          <p:nvPr/>
        </p:nvSpPr>
        <p:spPr>
          <a:xfrm>
            <a:off x="3270027" y="2908883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5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A53502BC-69E1-439A-83DA-9A32B30340A4}"/>
              </a:ext>
            </a:extLst>
          </p:cNvPr>
          <p:cNvSpPr/>
          <p:nvPr/>
        </p:nvSpPr>
        <p:spPr>
          <a:xfrm>
            <a:off x="6127527" y="2908883"/>
            <a:ext cx="262495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6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2021" y="4869160"/>
            <a:ext cx="8350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Необходимо сделать общие фото Фасада / дороги / прилегающей территории с разных сторон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8095" y="1340768"/>
            <a:ext cx="2559729" cy="1224136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 rot="20002512">
            <a:off x="565909" y="1957204"/>
            <a:ext cx="2493600" cy="27011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3413218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Фото шоу-</a:t>
            </a:r>
            <a:r>
              <a:rPr kumimoji="1" lang="ru-RU" altLang="zh-CN" sz="2200" b="1" dirty="0" err="1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рум</a:t>
            </a:r>
            <a:endParaRPr kumimoji="1" lang="ru-RU" altLang="zh-CN" sz="22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2</a:t>
            </a:fld>
            <a:endParaRPr lang="zh-CN" alt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402021" y="5569495"/>
            <a:ext cx="83504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Необходимо сделать общие фото внутри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8E0F6584-E565-405D-83AD-D4CB63EF168D}"/>
              </a:ext>
            </a:extLst>
          </p:cNvPr>
          <p:cNvSpPr/>
          <p:nvPr/>
        </p:nvSpPr>
        <p:spPr>
          <a:xfrm>
            <a:off x="315308" y="1200152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1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шоу-рума)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152528A6-1F0C-40E9-BDDA-6149F3CAA3B4}"/>
              </a:ext>
            </a:extLst>
          </p:cNvPr>
          <p:cNvSpPr/>
          <p:nvPr/>
        </p:nvSpPr>
        <p:spPr>
          <a:xfrm>
            <a:off x="2471242" y="1200152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2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шоу-рума)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881354D4-EC0C-4003-8F34-5F573CFF9412}"/>
              </a:ext>
            </a:extLst>
          </p:cNvPr>
          <p:cNvSpPr/>
          <p:nvPr/>
        </p:nvSpPr>
        <p:spPr>
          <a:xfrm>
            <a:off x="4606166" y="1208038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3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шоу-рума)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6F9A6B05-DC41-433E-9BD3-5624425311D8}"/>
              </a:ext>
            </a:extLst>
          </p:cNvPr>
          <p:cNvSpPr/>
          <p:nvPr/>
        </p:nvSpPr>
        <p:spPr>
          <a:xfrm>
            <a:off x="315308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5 (клиентская зона)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E9C38442-DD99-4A6E-860B-531F98494545}"/>
              </a:ext>
            </a:extLst>
          </p:cNvPr>
          <p:cNvSpPr/>
          <p:nvPr/>
        </p:nvSpPr>
        <p:spPr>
          <a:xfrm>
            <a:off x="2469953" y="3007936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6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рабочие места отдела продаж)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A53502BC-69E1-439A-83DA-9A32B30340A4}"/>
              </a:ext>
            </a:extLst>
          </p:cNvPr>
          <p:cNvSpPr/>
          <p:nvPr/>
        </p:nvSpPr>
        <p:spPr>
          <a:xfrm>
            <a:off x="4606166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7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рабочие места отдела продаж)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F560EE6B-FED0-4DD6-8C52-7F835EB4B33A}"/>
              </a:ext>
            </a:extLst>
          </p:cNvPr>
          <p:cNvSpPr/>
          <p:nvPr/>
        </p:nvSpPr>
        <p:spPr>
          <a:xfrm>
            <a:off x="6751594" y="1208038"/>
            <a:ext cx="207709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4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ресепшн / входная группа)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A915025C-7BB8-431D-999E-A88DE8EE6EB9}"/>
              </a:ext>
            </a:extLst>
          </p:cNvPr>
          <p:cNvSpPr/>
          <p:nvPr/>
        </p:nvSpPr>
        <p:spPr>
          <a:xfrm>
            <a:off x="6750279" y="3007936"/>
            <a:ext cx="2078413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8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Сервисное бюро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021" y="1401400"/>
            <a:ext cx="1865723" cy="1029525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 rot="20002512">
            <a:off x="35819" y="1957204"/>
            <a:ext cx="2493600" cy="27011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533261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Фото сервисная зон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3</a:t>
            </a:fld>
            <a:endParaRPr lang="zh-CN" alt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E0F6584-E565-405D-83AD-D4CB63EF168D}"/>
              </a:ext>
            </a:extLst>
          </p:cNvPr>
          <p:cNvSpPr/>
          <p:nvPr/>
        </p:nvSpPr>
        <p:spPr>
          <a:xfrm>
            <a:off x="315308" y="1215911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1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152528A6-1F0C-40E9-BDDA-6149F3CAA3B4}"/>
              </a:ext>
            </a:extLst>
          </p:cNvPr>
          <p:cNvSpPr/>
          <p:nvPr/>
        </p:nvSpPr>
        <p:spPr>
          <a:xfrm>
            <a:off x="2471242" y="1215911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2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881354D4-EC0C-4003-8F34-5F573CFF9412}"/>
              </a:ext>
            </a:extLst>
          </p:cNvPr>
          <p:cNvSpPr/>
          <p:nvPr/>
        </p:nvSpPr>
        <p:spPr>
          <a:xfrm>
            <a:off x="4606166" y="1223797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3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6F9A6B05-DC41-433E-9BD3-5624425311D8}"/>
              </a:ext>
            </a:extLst>
          </p:cNvPr>
          <p:cNvSpPr/>
          <p:nvPr/>
        </p:nvSpPr>
        <p:spPr>
          <a:xfrm>
            <a:off x="315308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5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мойка)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E9C38442-DD99-4A6E-860B-531F98494545}"/>
              </a:ext>
            </a:extLst>
          </p:cNvPr>
          <p:cNvSpPr/>
          <p:nvPr/>
        </p:nvSpPr>
        <p:spPr>
          <a:xfrm>
            <a:off x="2469953" y="3007936"/>
            <a:ext cx="2014045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6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прямая приемка)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A53502BC-69E1-439A-83DA-9A32B30340A4}"/>
              </a:ext>
            </a:extLst>
          </p:cNvPr>
          <p:cNvSpPr/>
          <p:nvPr/>
        </p:nvSpPr>
        <p:spPr>
          <a:xfrm>
            <a:off x="4606166" y="3007936"/>
            <a:ext cx="2024551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7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склад З/Ч)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F560EE6B-FED0-4DD6-8C52-7F835EB4B33A}"/>
              </a:ext>
            </a:extLst>
          </p:cNvPr>
          <p:cNvSpPr/>
          <p:nvPr/>
        </p:nvSpPr>
        <p:spPr>
          <a:xfrm>
            <a:off x="6751594" y="1223797"/>
            <a:ext cx="2077098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4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общий вид сервисной зоны)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A915025C-7BB8-431D-999E-A88DE8EE6EB9}"/>
              </a:ext>
            </a:extLst>
          </p:cNvPr>
          <p:cNvSpPr/>
          <p:nvPr/>
        </p:nvSpPr>
        <p:spPr>
          <a:xfrm>
            <a:off x="6750279" y="3007936"/>
            <a:ext cx="2078413" cy="164749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Фото 8 </a:t>
            </a:r>
          </a:p>
          <a:p>
            <a:pPr algn="ctr"/>
            <a:r>
              <a:rPr lang="ru-RU" dirty="0">
                <a:solidFill>
                  <a:sysClr val="windowText" lastClr="000000"/>
                </a:solidFill>
              </a:rPr>
              <a:t>(малярно-кузовной цех)</a:t>
            </a:r>
            <a:r>
              <a:rPr lang="en-US" dirty="0">
                <a:solidFill>
                  <a:sysClr val="windowText" lastClr="000000"/>
                </a:solidFill>
              </a:rPr>
              <a:t> </a:t>
            </a:r>
            <a:r>
              <a:rPr lang="ru-RU" dirty="0">
                <a:solidFill>
                  <a:sysClr val="windowText" lastClr="000000"/>
                </a:solidFill>
              </a:rPr>
              <a:t>при наличии*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2021" y="5229200"/>
            <a:ext cx="83504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Необходимо сделать  подробные фото сервисной зоны / Склада з/ч /  МКЦ * 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400" dirty="0">
                <a:solidFill>
                  <a:srgbClr val="C00000"/>
                </a:solidFill>
              </a:rPr>
              <a:t>* - при наличии в ДЦ</a:t>
            </a:r>
          </a:p>
          <a:p>
            <a:endParaRPr lang="ru-RU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61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Заключительные положения*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14</a:t>
            </a:fld>
            <a:endParaRPr lang="zh-CN" altLang="en-US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67544" y="908720"/>
            <a:ext cx="8280920" cy="33009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050" b="1" dirty="0"/>
              <a:t>АНТИКОРРУПЦИОННАЯ ОГОВОРКА</a:t>
            </a:r>
            <a:endParaRPr lang="ru-RU" sz="1050" dirty="0"/>
          </a:p>
          <a:p>
            <a:r>
              <a:rPr lang="ru-RU" sz="900" dirty="0"/>
              <a:t>1. Стороны подтверждают, что они, их аффилированные лица, работники или посредники до подписания Договора, а также во время исполнения обязательств по Договору не выплачивают, не предлагают выплатить и не разрешают выплату каких-либо денежных средств или ценностей, прямо или косвенно, любым лицам для оказания влияния на действия или решения этих лиц с целью получить какие-либо неправомерные преимущества или иные неправомерные цели (в том числе в целях подписания Договора, получения скидок и др.).</a:t>
            </a:r>
          </a:p>
          <a:p>
            <a:r>
              <a:rPr lang="ru-RU" sz="900" dirty="0"/>
              <a:t>2. При исполнении своих обязательств по будущему Договору, Стороны, их аффилированные лица, работники или посредники не осуществляют действия, квалифицируемые применимым для целей Договора законодательством, как дача/получение взятки, коммерческий подкуп, а также действия, нарушающие требования применимого законодательства и международных актов о противодействии легализации (отмыванию) доходов, полученных преступным путем. </a:t>
            </a:r>
          </a:p>
          <a:p>
            <a:r>
              <a:rPr lang="ru-RU" sz="900" dirty="0"/>
              <a:t>3. Стороны соглашаются, что соблюдение предписаний настоящего раздела Анкеты является для Сторон существенным условием Договора, при неисполнении которого одной из Сторон соответственно другая Сторона имеет право отказаться от исполнения Договора в одностороннем внесудебном порядке.</a:t>
            </a:r>
          </a:p>
          <a:p>
            <a:r>
              <a:rPr lang="ru-RU" sz="900" dirty="0"/>
              <a:t>4. В случае возникновения у Стороны подозрений, что произошло или может произойти нарушение антикоррупционного законодательства Российской Федерации, соответствующая Сторона обязуется уведомить другую Сторону в письменной форме. В письменном уведомлении Сторона обязана сослаться на факты или предоставить материалы, достоверно подтверждающие или дающие основание предполагать, что произошло или может произойти нарушение антикоррупционного законодательства Российской Федерации.  </a:t>
            </a:r>
          </a:p>
          <a:p>
            <a:r>
              <a:rPr lang="ru-RU" sz="900" dirty="0"/>
              <a:t>5. Стороны также стремятся не допускать возникновения обстоятельств, при которых личная заинтересованность работника Стороны, работника аффилированного лица Стороны и/или работника контрагента Стороны может негативно повлиять на исполнение Договора и причинить ущерб интересам любой из Сторон (Конфликт интересов).</a:t>
            </a:r>
          </a:p>
          <a:p>
            <a:r>
              <a:rPr lang="ru-RU" sz="900" dirty="0"/>
              <a:t>6. Сторона, получившая уведомление о нарушении каких-либо положений, обязана рассмотреть уведомление и сообщить другой Стороне об итогах его рассмотрения в течение 3 (трех) рабочих дней с даты получения письменного уведомления. К письменному уведомлению приравнивается получение сообщений по адресам электронной почты, признаваемым для целей исполнения Договора.</a:t>
            </a:r>
          </a:p>
          <a:p>
            <a:r>
              <a:rPr lang="ru-RU" sz="900" dirty="0"/>
              <a:t>7. Стороны гарантируют осуществление надлежащего разбирательства по фактам нарушения положений раздела Договора с соблюдением принципов конфиденциальности и применение эффективных мер по предотвращению возможных конфликтных ситуаций. Стороны гарантируют отсутствие негативных последствий как для уведомившей Стороны в целом, так и для конкретных работников уведомившей Стороны, сообщивших о факте нарушений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40784" y="4437112"/>
            <a:ext cx="4175232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C00000"/>
                </a:solidFill>
              </a:rPr>
              <a:t>Дата заполнения__________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400" dirty="0">
                <a:solidFill>
                  <a:srgbClr val="C00000"/>
                </a:solidFill>
              </a:rPr>
              <a:t>Подпись уполномоченного лица__________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400" dirty="0">
                <a:solidFill>
                  <a:srgbClr val="C00000"/>
                </a:solidFill>
              </a:rPr>
              <a:t>Печать</a:t>
            </a:r>
          </a:p>
          <a:p>
            <a:endParaRPr lang="ru-RU" sz="1400" dirty="0">
              <a:solidFill>
                <a:srgbClr val="C00000"/>
              </a:solidFill>
            </a:endParaRPr>
          </a:p>
          <a:p>
            <a:r>
              <a:rPr lang="ru-RU" sz="1100" b="1" dirty="0">
                <a:solidFill>
                  <a:srgbClr val="C00000"/>
                </a:solidFill>
              </a:rPr>
              <a:t>* Сканированная копия данной страницы должна быть приложена к заполненной заявке в формате </a:t>
            </a:r>
            <a:r>
              <a:rPr lang="en-US" sz="1100" b="1" dirty="0">
                <a:solidFill>
                  <a:srgbClr val="C00000"/>
                </a:solidFill>
              </a:rPr>
              <a:t>.</a:t>
            </a:r>
            <a:r>
              <a:rPr lang="en-US" sz="1100" b="1" dirty="0" err="1">
                <a:solidFill>
                  <a:srgbClr val="C00000"/>
                </a:solidFill>
              </a:rPr>
              <a:t>ppt</a:t>
            </a:r>
            <a:endParaRPr lang="ru-RU" sz="11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704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7" name="矩形 13"/>
          <p:cNvSpPr>
            <a:spLocks noChangeArrowheads="1"/>
          </p:cNvSpPr>
          <p:nvPr/>
        </p:nvSpPr>
        <p:spPr bwMode="auto">
          <a:xfrm>
            <a:off x="971600" y="2420888"/>
            <a:ext cx="6858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altLang="zh-CN" sz="48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Your Wish  </a:t>
            </a:r>
          </a:p>
          <a:p>
            <a:pPr algn="ctr"/>
            <a:r>
              <a:rPr lang="en-US" altLang="zh-CN" sz="48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BAIC Way</a:t>
            </a:r>
          </a:p>
        </p:txBody>
      </p:sp>
      <p:sp>
        <p:nvSpPr>
          <p:cNvPr id="12" name="灯片编号占位符 1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B5C0977-9C28-4542-9ABA-399477D60D56}" type="slidenum">
              <a:rPr lang="zh-CN" altLang="en-US" smtClean="0"/>
              <a:pPr/>
              <a:t>15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296609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Контактная информация</a:t>
            </a:r>
            <a:endParaRPr kumimoji="1" lang="en-US" altLang="zh-CN" sz="2200" b="1" dirty="0">
              <a:solidFill>
                <a:srgbClr val="C0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graphicFrame>
        <p:nvGraphicFramePr>
          <p:cNvPr id="72" name="Таблица 71">
            <a:extLst>
              <a:ext uri="{FF2B5EF4-FFF2-40B4-BE49-F238E27FC236}">
                <a16:creationId xmlns:a16="http://schemas.microsoft.com/office/drawing/2014/main" xmlns="" id="{6FC6C6D2-C8C8-4C90-A334-65E51DF1CA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84147"/>
              </p:ext>
            </p:extLst>
          </p:nvPr>
        </p:nvGraphicFramePr>
        <p:xfrm>
          <a:off x="323528" y="1526424"/>
          <a:ext cx="8496944" cy="3846792"/>
        </p:xfrm>
        <a:graphic>
          <a:graphicData uri="http://schemas.openxmlformats.org/drawingml/2006/table">
            <a:tbl>
              <a:tblPr/>
              <a:tblGrid>
                <a:gridCol w="431191">
                  <a:extLst>
                    <a:ext uri="{9D8B030D-6E8A-4147-A177-3AD203B41FA5}">
                      <a16:colId xmlns:a16="http://schemas.microsoft.com/office/drawing/2014/main" xmlns="" val="2577169992"/>
                    </a:ext>
                  </a:extLst>
                </a:gridCol>
                <a:gridCol w="2593144">
                  <a:extLst>
                    <a:ext uri="{9D8B030D-6E8A-4147-A177-3AD203B41FA5}">
                      <a16:colId xmlns:a16="http://schemas.microsoft.com/office/drawing/2014/main" xmlns="" val="1525269328"/>
                    </a:ext>
                  </a:extLst>
                </a:gridCol>
                <a:gridCol w="220214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08333">
                  <a:extLst>
                    <a:ext uri="{9D8B030D-6E8A-4147-A177-3AD203B41FA5}">
                      <a16:colId xmlns:a16="http://schemas.microsoft.com/office/drawing/2014/main" xmlns="" val="826017385"/>
                    </a:ext>
                  </a:extLst>
                </a:gridCol>
                <a:gridCol w="1862131">
                  <a:extLst>
                    <a:ext uri="{9D8B030D-6E8A-4147-A177-3AD203B41FA5}">
                      <a16:colId xmlns:a16="http://schemas.microsoft.com/office/drawing/2014/main" xmlns="" val="3979076066"/>
                    </a:ext>
                  </a:extLst>
                </a:gridCol>
              </a:tblGrid>
              <a:tr h="282852">
                <a:tc gridSpan="5"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Лицо</a:t>
                      </a:r>
                      <a:r>
                        <a:rPr lang="ru-RU" sz="1400" b="0" i="0" u="none" strike="noStrike" baseline="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тветственное за подачу заявлен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41414302"/>
                  </a:ext>
                </a:extLst>
              </a:tr>
              <a:tr h="27342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Личная информация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амил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м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тчество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21012628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98681386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жност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озрас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68636515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87824523"/>
                  </a:ext>
                </a:extLst>
              </a:tr>
              <a:tr h="273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нтакт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б. телефо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e-m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ругие контакт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06635088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39935272"/>
                  </a:ext>
                </a:extLst>
              </a:tr>
              <a:tr h="282852">
                <a:tc gridSpan="5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Лицо ответственное за переговоры </a:t>
                      </a:r>
                      <a:r>
                        <a:rPr lang="ru-RU" sz="1400" b="0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с Дистрибьютором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29177421"/>
                  </a:ext>
                </a:extLst>
              </a:tr>
              <a:tr h="27342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Личная информация</a:t>
                      </a:r>
                      <a:endParaRPr lang="ru-RU" sz="1100" dirty="0"/>
                    </a:p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100" dirty="0"/>
                    </a:p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амил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м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тчество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27061155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799056634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жност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озрас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3987483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11631141"/>
                  </a:ext>
                </a:extLst>
              </a:tr>
              <a:tr h="27342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нтакты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б. телефо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e-mail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другие контакты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3345464"/>
                  </a:ext>
                </a:extLst>
              </a:tr>
              <a:tr h="2734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1718308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труктура компании / Холдинг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3</a:t>
            </a:fld>
            <a:endParaRPr lang="zh-CN" altLang="en-US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xmlns="" id="{788DEBEF-116A-4394-B8BB-96251150DE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4272854"/>
              </p:ext>
            </p:extLst>
          </p:nvPr>
        </p:nvGraphicFramePr>
        <p:xfrm>
          <a:off x="307427" y="1484783"/>
          <a:ext cx="8489734" cy="3375968"/>
        </p:xfrm>
        <a:graphic>
          <a:graphicData uri="http://schemas.openxmlformats.org/drawingml/2006/table">
            <a:tbl>
              <a:tblPr/>
              <a:tblGrid>
                <a:gridCol w="346356">
                  <a:extLst>
                    <a:ext uri="{9D8B030D-6E8A-4147-A177-3AD203B41FA5}">
                      <a16:colId xmlns:a16="http://schemas.microsoft.com/office/drawing/2014/main" xmlns="" val="588648022"/>
                    </a:ext>
                  </a:extLst>
                </a:gridCol>
                <a:gridCol w="2102296">
                  <a:extLst>
                    <a:ext uri="{9D8B030D-6E8A-4147-A177-3AD203B41FA5}">
                      <a16:colId xmlns:a16="http://schemas.microsoft.com/office/drawing/2014/main" xmlns="" val="2139418418"/>
                    </a:ext>
                  </a:extLst>
                </a:gridCol>
                <a:gridCol w="1527889">
                  <a:extLst>
                    <a:ext uri="{9D8B030D-6E8A-4147-A177-3AD203B41FA5}">
                      <a16:colId xmlns:a16="http://schemas.microsoft.com/office/drawing/2014/main" xmlns="" val="174711294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xmlns="" val="3125142524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557497367"/>
                    </a:ext>
                  </a:extLst>
                </a:gridCol>
                <a:gridCol w="1560865">
                  <a:extLst>
                    <a:ext uri="{9D8B030D-6E8A-4147-A177-3AD203B41FA5}">
                      <a16:colId xmlns:a16="http://schemas.microsoft.com/office/drawing/2014/main" xmlns="" val="1405432740"/>
                    </a:ext>
                  </a:extLst>
                </a:gridCol>
              </a:tblGrid>
              <a:tr h="153439">
                <a:tc gridSpan="6"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нформация о компании-кандидате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0090969"/>
                  </a:ext>
                </a:extLst>
              </a:tr>
              <a:tr h="225447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5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сновная информац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именование юр. лица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web-sit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35759117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00656600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ридический адрес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актический адрес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21169268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02259347"/>
                  </a:ext>
                </a:extLst>
              </a:tr>
              <a:tr h="67634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штат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отрудников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фер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еятельности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есто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егистраци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Л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ат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егистраци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Л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66188624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2299158"/>
                  </a:ext>
                </a:extLst>
              </a:tr>
              <a:tr h="676341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инансовая информация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уставной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апитал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орот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мпании тыс.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.уб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ИНН/ОГРН/КПП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чиста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ибыль тыс. руб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99566089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19: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19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70981646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0: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0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97507932"/>
                  </a:ext>
                </a:extLst>
              </a:tr>
              <a:tr h="2254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1: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1: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89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6956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труктура компании / Холдинг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4</a:t>
            </a:fld>
            <a:endParaRPr lang="zh-CN" altLang="en-US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xmlns="" id="{A1E158C2-8803-4BA6-850F-5505887DEE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1709537"/>
              </p:ext>
            </p:extLst>
          </p:nvPr>
        </p:nvGraphicFramePr>
        <p:xfrm>
          <a:off x="362606" y="1196752"/>
          <a:ext cx="8385857" cy="3627867"/>
        </p:xfrm>
        <a:graphic>
          <a:graphicData uri="http://schemas.openxmlformats.org/drawingml/2006/table">
            <a:tbl>
              <a:tblPr/>
              <a:tblGrid>
                <a:gridCol w="403554">
                  <a:extLst>
                    <a:ext uri="{9D8B030D-6E8A-4147-A177-3AD203B41FA5}">
                      <a16:colId xmlns:a16="http://schemas.microsoft.com/office/drawing/2014/main" xmlns="" val="394898801"/>
                    </a:ext>
                  </a:extLst>
                </a:gridCol>
                <a:gridCol w="2149656">
                  <a:extLst>
                    <a:ext uri="{9D8B030D-6E8A-4147-A177-3AD203B41FA5}">
                      <a16:colId xmlns:a16="http://schemas.microsoft.com/office/drawing/2014/main" xmlns="" val="1759206622"/>
                    </a:ext>
                  </a:extLst>
                </a:gridCol>
                <a:gridCol w="2448272">
                  <a:extLst>
                    <a:ext uri="{9D8B030D-6E8A-4147-A177-3AD203B41FA5}">
                      <a16:colId xmlns:a16="http://schemas.microsoft.com/office/drawing/2014/main" xmlns="" val="3695699060"/>
                    </a:ext>
                  </a:extLst>
                </a:gridCol>
                <a:gridCol w="1800200">
                  <a:extLst>
                    <a:ext uri="{9D8B030D-6E8A-4147-A177-3AD203B41FA5}">
                      <a16:colId xmlns:a16="http://schemas.microsoft.com/office/drawing/2014/main" xmlns="" val="4082613044"/>
                    </a:ext>
                  </a:extLst>
                </a:gridCol>
                <a:gridCol w="26817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316002">
                  <a:extLst>
                    <a:ext uri="{9D8B030D-6E8A-4147-A177-3AD203B41FA5}">
                      <a16:colId xmlns:a16="http://schemas.microsoft.com/office/drawing/2014/main" xmlns="" val="1011145249"/>
                    </a:ext>
                  </a:extLst>
                </a:gridCol>
              </a:tblGrid>
              <a:tr h="64502">
                <a:tc gridSpan="6"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Информация о бенефициарах 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12032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7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нтролируемы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юр. лиц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вкл. дочерние компании, входящие в Группу)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компании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ата регистрации юридического лица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щ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выручк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мпании / чистая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прибыль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тыс. руб.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51111691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19: 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12400249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0: 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20423694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2021: 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18296531"/>
                  </a:ext>
                </a:extLst>
              </a:tr>
              <a:tr h="181131"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8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Учредители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компании или ФИО бенефициара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я в уставном капитале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89896873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96692375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69053371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06291218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12026451"/>
                  </a:ext>
                </a:extLst>
              </a:tr>
              <a:tr h="181131">
                <a:tc rowSpan="6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9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лючевы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отрудники дл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я проекта </a:t>
                      </a:r>
                      <a:r>
                        <a:rPr lang="en-US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BAIC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ФИО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олжность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б. телефон /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20542448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email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14839886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иректор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79142584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П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89578777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73597412"/>
                  </a:ext>
                </a:extLst>
              </a:tr>
              <a:tr h="1811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ЗЧ</a:t>
                      </a:r>
                    </a:p>
                  </a:txBody>
                  <a:tcPr marL="6246" marR="6246" marT="62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246" marR="6246" marT="6246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06358515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3105204"/>
              </p:ext>
            </p:extLst>
          </p:nvPr>
        </p:nvGraphicFramePr>
        <p:xfrm>
          <a:off x="362606" y="4941169"/>
          <a:ext cx="8401959" cy="1008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970"/>
                <a:gridCol w="2808312"/>
                <a:gridCol w="5200677"/>
              </a:tblGrid>
              <a:tr h="336037"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Информация о количестве сотрудников, планируемых для сотрудничества с </a:t>
                      </a:r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BAIC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36037">
                <a:tc row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9.1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ат Отдела продаж: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Отметьте кол-во персонала, которое будет задействовано</a:t>
                      </a:r>
                      <a:r>
                        <a:rPr lang="ru-RU" sz="11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(___ чел.)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6037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ат отдела ППО:</a:t>
                      </a:r>
                      <a:endParaRPr lang="ru-RU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Отметьте кол-во персонала, которое будет задействовано (___ чел.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9695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труктура компании / Холдинга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5</a:t>
            </a:fld>
            <a:endParaRPr lang="zh-CN" altLang="en-US" dirty="0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B3FF35FC-3D99-467A-9CE6-564E5AD82A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6137883"/>
              </p:ext>
            </p:extLst>
          </p:nvPr>
        </p:nvGraphicFramePr>
        <p:xfrm>
          <a:off x="457200" y="1196752"/>
          <a:ext cx="8229599" cy="3308402"/>
        </p:xfrm>
        <a:graphic>
          <a:graphicData uri="http://schemas.openxmlformats.org/drawingml/2006/table">
            <a:tbl>
              <a:tblPr/>
              <a:tblGrid>
                <a:gridCol w="318077">
                  <a:extLst>
                    <a:ext uri="{9D8B030D-6E8A-4147-A177-3AD203B41FA5}">
                      <a16:colId xmlns:a16="http://schemas.microsoft.com/office/drawing/2014/main" xmlns="" val="1156932829"/>
                    </a:ext>
                  </a:extLst>
                </a:gridCol>
                <a:gridCol w="1852507">
                  <a:extLst>
                    <a:ext uri="{9D8B030D-6E8A-4147-A177-3AD203B41FA5}">
                      <a16:colId xmlns:a16="http://schemas.microsoft.com/office/drawing/2014/main" xmlns="" val="2364663672"/>
                    </a:ext>
                  </a:extLst>
                </a:gridCol>
                <a:gridCol w="55458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2959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4254156089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522511">
                  <a:extLst>
                    <a:ext uri="{9D8B030D-6E8A-4147-A177-3AD203B41FA5}">
                      <a16:colId xmlns:a16="http://schemas.microsoft.com/office/drawing/2014/main" xmlns="" val="3700800538"/>
                    </a:ext>
                  </a:extLst>
                </a:gridCol>
              </a:tblGrid>
              <a:tr h="233261">
                <a:tc gridSpan="7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Автомобильные бренды входящие в портфель компании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25708821"/>
                  </a:ext>
                </a:extLst>
              </a:tr>
              <a:tr h="233261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 / начало сотрудничества / кол-во дилерских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центро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rowSpan="5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54513650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16305436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97393841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1517251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l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62386315"/>
                  </a:ext>
                </a:extLst>
              </a:tr>
              <a:tr h="233261">
                <a:tc gridSpan="7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Опыт компании-претендента в автомобильной сфере по продажам а/м (оф. дилер)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97150496"/>
                  </a:ext>
                </a:extLst>
              </a:tr>
              <a:tr h="466522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Город, адрес локации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и  новых а/м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19/20/21 г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Кол-во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машино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-заездов (шт.) 19/20/21 г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а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з/ч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(тыс.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.)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19/20/21 г.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51820390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9637989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2310100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49411321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ru-RU" sz="110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71461662"/>
                  </a:ext>
                </a:extLst>
              </a:tr>
              <a:tr h="233261"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ru-RU" sz="1100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9482177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0639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Информация о предложении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6</a:t>
            </a:fld>
            <a:endParaRPr lang="zh-CN" altLang="en-US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xmlns="" id="{47751041-3864-46AB-BB9C-37E85A1742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658126"/>
              </p:ext>
            </p:extLst>
          </p:nvPr>
        </p:nvGraphicFramePr>
        <p:xfrm>
          <a:off x="263525" y="963601"/>
          <a:ext cx="8669938" cy="5273711"/>
        </p:xfrm>
        <a:graphic>
          <a:graphicData uri="http://schemas.openxmlformats.org/drawingml/2006/table">
            <a:tbl>
              <a:tblPr/>
              <a:tblGrid>
                <a:gridCol w="298446">
                  <a:extLst>
                    <a:ext uri="{9D8B030D-6E8A-4147-A177-3AD203B41FA5}">
                      <a16:colId xmlns:a16="http://schemas.microsoft.com/office/drawing/2014/main" xmlns="" val="1113965521"/>
                    </a:ext>
                  </a:extLst>
                </a:gridCol>
                <a:gridCol w="1345733">
                  <a:extLst>
                    <a:ext uri="{9D8B030D-6E8A-4147-A177-3AD203B41FA5}">
                      <a16:colId xmlns:a16="http://schemas.microsoft.com/office/drawing/2014/main" xmlns="" val="2260557044"/>
                    </a:ext>
                  </a:extLst>
                </a:gridCol>
                <a:gridCol w="2952328">
                  <a:extLst>
                    <a:ext uri="{9D8B030D-6E8A-4147-A177-3AD203B41FA5}">
                      <a16:colId xmlns:a16="http://schemas.microsoft.com/office/drawing/2014/main" xmlns="" val="2931323062"/>
                    </a:ext>
                  </a:extLst>
                </a:gridCol>
                <a:gridCol w="148967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91879">
                  <a:extLst>
                    <a:ext uri="{9D8B030D-6E8A-4147-A177-3AD203B41FA5}">
                      <a16:colId xmlns:a16="http://schemas.microsoft.com/office/drawing/2014/main" xmlns="" val="2510217721"/>
                    </a:ext>
                  </a:extLst>
                </a:gridCol>
                <a:gridCol w="1291879">
                  <a:extLst>
                    <a:ext uri="{9D8B030D-6E8A-4147-A177-3AD203B41FA5}">
                      <a16:colId xmlns:a16="http://schemas.microsoft.com/office/drawing/2014/main" xmlns="" val="1548568228"/>
                    </a:ext>
                  </a:extLst>
                </a:gridCol>
              </a:tblGrid>
              <a:tr h="204553"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Детализация предложения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36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Адрес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76717361"/>
                  </a:ext>
                </a:extLst>
              </a:tr>
              <a:tr h="34810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Земельный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Участок / Дилерский центр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щая площадь участка / здания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аренда ил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обственность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рок аренды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арендная плат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за год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98510697"/>
                  </a:ext>
                </a:extLst>
              </a:tr>
              <a:tr h="32885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73789295"/>
                  </a:ext>
                </a:extLst>
              </a:tr>
              <a:tr h="52036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шоу-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ум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щая площадь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шоу-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ума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од бренд 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BAIC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 ШР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²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)</a:t>
                      </a:r>
                      <a:endParaRPr lang="en-US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е менее </a:t>
                      </a:r>
                      <a:r>
                        <a:rPr lang="en-US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45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0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ысота потолк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в шоу-руме </a:t>
                      </a:r>
                    </a:p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не менее 4 м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азмер фриза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хШ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(м)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фасаде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6193538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44074120"/>
                  </a:ext>
                </a:extLst>
              </a:tr>
              <a:tr h="348104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танци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технического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служивания (СТО)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 СТО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узовного цеха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ол-во постов/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одъемников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кладски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и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7784879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03663709"/>
                  </a:ext>
                </a:extLst>
              </a:tr>
              <a:tr h="3481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лиентской зоны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лощадь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фисной зоны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мойка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кол-во постов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очие площади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борудование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3040405"/>
                  </a:ext>
                </a:extLst>
              </a:tr>
              <a:tr h="3373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969696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10878331"/>
                  </a:ext>
                </a:extLst>
              </a:tr>
              <a:tr h="175843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16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организация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кузовного ремонта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асстояние от шоу-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рум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/ зоны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приемк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о аутсорсингу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17958624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а/нет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35811248"/>
                  </a:ext>
                </a:extLst>
              </a:tr>
              <a:tr h="348104">
                <a:tc rowSpan="4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17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ы в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существующем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ДЦ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именование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ренда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этаж / площадь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одажи шт.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2020 г.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продажи шт.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(2021 г.)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76609133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91153503"/>
                  </a:ext>
                </a:extLst>
              </a:tr>
              <a:tr h="1758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66463929"/>
                  </a:ext>
                </a:extLst>
              </a:tr>
              <a:tr h="3373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51159395"/>
                  </a:ext>
                </a:extLst>
              </a:tr>
              <a:tr h="520364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18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Ближайшие ДЦ, иные объекты</a:t>
                      </a:r>
                      <a:r>
                        <a:rPr lang="ru-RU" sz="11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 торговой инфраструктуры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название бренда / расстояние от ДЦ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52595125"/>
                  </a:ext>
                </a:extLst>
              </a:tr>
              <a:tr h="2511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Bahnschrift SemiBold SemiConden" panose="020B0502040204020203" pitchFamily="34" charset="0"/>
                      </a:endParaRP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1" u="none" strike="noStrike" dirty="0">
                          <a:solidFill>
                            <a:srgbClr val="808080"/>
                          </a:solidFill>
                          <a:effectLst/>
                          <a:latin typeface="Bahnschrift SemiBold SemiConden" panose="020B0502040204020203" pitchFamily="34" charset="0"/>
                        </a:rPr>
                        <a:t> </a:t>
                      </a:r>
                    </a:p>
                  </a:txBody>
                  <a:tcPr marL="3804" marR="3804" marT="380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194960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4830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632469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Предварительный бизнес-план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7</a:t>
            </a:fld>
            <a:endParaRPr lang="zh-CN" altLang="en-US" dirty="0"/>
          </a:p>
        </p:txBody>
      </p:sp>
      <p:graphicFrame>
        <p:nvGraphicFramePr>
          <p:cNvPr id="6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864004"/>
              </p:ext>
            </p:extLst>
          </p:nvPr>
        </p:nvGraphicFramePr>
        <p:xfrm>
          <a:off x="181798" y="980728"/>
          <a:ext cx="4174178" cy="3184108"/>
        </p:xfrm>
        <a:graphic>
          <a:graphicData uri="http://schemas.openxmlformats.org/drawingml/2006/table">
            <a:tbl>
              <a:tblPr/>
              <a:tblGrid>
                <a:gridCol w="230197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990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</a:rPr>
                        <a:t>Отдел продаж а/м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</a:rPr>
                        <a:t>20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</a:rPr>
                        <a:t>23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</a:rPr>
                        <a:t>2</a:t>
                      </a: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</a:rPr>
                        <a:t>24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</a:rPr>
                        <a:t>20</a:t>
                      </a:r>
                      <a:r>
                        <a:rPr lang="en-US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</a:rPr>
                        <a:t>25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и новых а/м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Выручка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Валовая Прибыль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Доходы от продажи </a:t>
                      </a:r>
                      <a:r>
                        <a:rPr lang="en-U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F&amp;I 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а аксессуаров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чие доходы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689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Итого прибыль от продаж новых а/м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55412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90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Отдел продаж </a:t>
                      </a:r>
                      <a:r>
                        <a:rPr lang="ru-RU" sz="1100" b="1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АсП</a:t>
                      </a:r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3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0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4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5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и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Выручка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Валовая Прибыль</a:t>
                      </a:r>
                    </a:p>
                  </a:txBody>
                  <a:tcPr marL="36000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8908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чие доходы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2707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Итого прибыль от продаж </a:t>
                      </a:r>
                      <a:r>
                        <a:rPr lang="ru-RU" sz="11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АсП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431234"/>
              </p:ext>
            </p:extLst>
          </p:nvPr>
        </p:nvGraphicFramePr>
        <p:xfrm>
          <a:off x="4499991" y="988731"/>
          <a:ext cx="4392488" cy="3182475"/>
        </p:xfrm>
        <a:graphic>
          <a:graphicData uri="http://schemas.openxmlformats.org/drawingml/2006/table">
            <a:tbl>
              <a:tblPr/>
              <a:tblGrid>
                <a:gridCol w="250279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298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2989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2989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8997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Слесарный ремонт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3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0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4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5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824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а сервисных услуг (Н/Ч)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9824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Кол-во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машино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-заездов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шт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9824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Выручка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824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Валовая Прибыль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9824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чие доходы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6000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7280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Итого прибыль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механического цеха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4904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3822" marR="3822" marT="3528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89974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Продажи з/ч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3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0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4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0</a:t>
                      </a:r>
                      <a:r>
                        <a:rPr lang="en-US" sz="11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+mn-cs"/>
                        </a:rPr>
                        <a:t>25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+mn-cs"/>
                      </a:endParaRP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9824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и з/ч выручка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9824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и з/ч прибыль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9824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и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аксес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. выручка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7481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Продажи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аксес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. прибыль (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тыс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руб</a:t>
                      </a:r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Bahnschrift SemiBold SemiConden" panose="020B0502040204020203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9776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Итого прибыль от продажи з/ч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</a:rPr>
                        <a:t>0</a:t>
                      </a:r>
                    </a:p>
                  </a:txBody>
                  <a:tcPr marL="3822" marR="3822" marT="3528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34830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Карта / География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8</a:t>
            </a:fld>
            <a:endParaRPr lang="zh-CN" altLang="en-US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3AF12CFF-5292-493B-BE6E-56C6477DB9CA}"/>
              </a:ext>
            </a:extLst>
          </p:cNvPr>
          <p:cNvSpPr/>
          <p:nvPr/>
        </p:nvSpPr>
        <p:spPr>
          <a:xfrm>
            <a:off x="611560" y="1052737"/>
            <a:ext cx="8047650" cy="144016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ysClr val="windowText" lastClr="000000"/>
                </a:solidFill>
              </a:rPr>
              <a:t>Вставьте карту города вместе со следующими пояснениями:</a:t>
            </a:r>
          </a:p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Отметка точкой предложения на карте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Расположение иных брендов в городе / дилерских деревень</a:t>
            </a:r>
          </a:p>
          <a:p>
            <a:pPr marL="2114550" lvl="4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Основные генераторы клиентского трафика / торговые локации / Аэропорт / ЖД Вокзал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091" y="3344172"/>
            <a:ext cx="4720154" cy="28186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Прямоугольник 1"/>
          <p:cNvSpPr/>
          <p:nvPr/>
        </p:nvSpPr>
        <p:spPr>
          <a:xfrm rot="20002512">
            <a:off x="2794514" y="4582796"/>
            <a:ext cx="4032448" cy="41279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</p:spTree>
    <p:extLst>
      <p:ext uri="{BB962C8B-B14F-4D97-AF65-F5344CB8AC3E}">
        <p14:creationId xmlns:p14="http://schemas.microsoft.com/office/powerpoint/2010/main" val="24634830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1032" y="2399807"/>
            <a:ext cx="5904656" cy="3931529"/>
          </a:xfrm>
          <a:prstGeom prst="rect">
            <a:avLst/>
          </a:prstGeom>
        </p:spPr>
      </p:pic>
      <p:sp>
        <p:nvSpPr>
          <p:cNvPr id="6146" name="TextBox 2"/>
          <p:cNvSpPr>
            <a:spLocks noChangeArrowheads="1"/>
          </p:cNvSpPr>
          <p:nvPr/>
        </p:nvSpPr>
        <p:spPr bwMode="auto">
          <a:xfrm>
            <a:off x="263525" y="215900"/>
            <a:ext cx="5711825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kumimoji="1" lang="ru-RU" altLang="zh-CN" sz="2200" b="1" dirty="0">
                <a:solidFill>
                  <a:srgbClr val="C00000"/>
                </a:solidFill>
                <a:latin typeface="微软雅黑" pitchFamily="34" charset="-122"/>
                <a:ea typeface="微软雅黑" pitchFamily="34" charset="-122"/>
              </a:rPr>
              <a:t>Схема плана территории</a:t>
            </a:r>
          </a:p>
        </p:txBody>
      </p:sp>
      <p:pic>
        <p:nvPicPr>
          <p:cNvPr id="6147" name="Picture 4" descr="C:\Users\renshuliang.ZHENGBANG\Desktop\logo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00788" y="436563"/>
            <a:ext cx="22098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灯片编号占位符 11"/>
          <p:cNvSpPr>
            <a:spLocks noGrp="1"/>
          </p:cNvSpPr>
          <p:nvPr>
            <p:ph type="sldNum" sz="quarter" idx="4"/>
          </p:nvPr>
        </p:nvSpPr>
        <p:spPr>
          <a:xfrm>
            <a:off x="6876256" y="6356350"/>
            <a:ext cx="2133600" cy="365125"/>
          </a:xfrm>
        </p:spPr>
        <p:txBody>
          <a:bodyPr/>
          <a:lstStyle/>
          <a:p>
            <a:fld id="{9B5C0977-9C28-4542-9ABA-399477D60D56}" type="slidenum">
              <a:rPr lang="zh-CN" altLang="en-US" smtClean="0"/>
              <a:pPr/>
              <a:t>9</a:t>
            </a:fld>
            <a:endParaRPr lang="zh-CN" altLang="en-US" dirty="0"/>
          </a:p>
        </p:txBody>
      </p:sp>
      <p:sp>
        <p:nvSpPr>
          <p:cNvPr id="2" name="Прямоугольник 1"/>
          <p:cNvSpPr/>
          <p:nvPr/>
        </p:nvSpPr>
        <p:spPr>
          <a:xfrm rot="20002512">
            <a:off x="2794514" y="4077067"/>
            <a:ext cx="4032448" cy="41279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Пример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7DDE412C-B6C9-4148-879E-04590E100286}"/>
              </a:ext>
            </a:extLst>
          </p:cNvPr>
          <p:cNvSpPr/>
          <p:nvPr/>
        </p:nvSpPr>
        <p:spPr>
          <a:xfrm>
            <a:off x="409903" y="1066299"/>
            <a:ext cx="8174420" cy="185864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ysClr val="windowText" lastClr="000000"/>
                </a:solidFill>
              </a:rPr>
              <a:t>Схема генерального плана территории с указанием:</a:t>
            </a:r>
          </a:p>
          <a:p>
            <a:pPr algn="ctr"/>
            <a:endParaRPr lang="ru-RU" sz="1600" b="1" dirty="0">
              <a:solidFill>
                <a:sysClr val="windowText" lastClr="000000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Въезд на территорию и маршрутизацией движения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ysClr val="windowText" lastClr="000000"/>
                </a:solidFill>
              </a:rPr>
              <a:t>Зона парковок с разбивкой: 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Клиентские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А/м для тест-драйва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Хранения товарных запасов</a:t>
            </a:r>
          </a:p>
          <a:p>
            <a:pPr marL="2571750" lvl="5" indent="-285750">
              <a:buFont typeface="Wingdings" panose="05000000000000000000" pitchFamily="2" charset="2"/>
              <a:buChar char="Ø"/>
            </a:pPr>
            <a:r>
              <a:rPr lang="ru-RU" sz="1400" dirty="0">
                <a:solidFill>
                  <a:sysClr val="windowText" lastClr="000000"/>
                </a:solidFill>
              </a:rPr>
              <a:t>Автомобилей находящихся в сервисе / ожидающих ремонта</a:t>
            </a:r>
          </a:p>
        </p:txBody>
      </p:sp>
    </p:spTree>
    <p:extLst>
      <p:ext uri="{BB962C8B-B14F-4D97-AF65-F5344CB8AC3E}">
        <p14:creationId xmlns:p14="http://schemas.microsoft.com/office/powerpoint/2010/main" val="15289831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MYRZ7O.kCLsYEixJuR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A4n3edskmyz8V2L0F4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MYRZ7O.kCLsYEixJuR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1A4n3edskmyz8V2L0F4BA"/>
</p:tagLst>
</file>

<file path=ppt/theme/theme1.xml><?xml version="1.0" encoding="utf-8"?>
<a:theme xmlns:a="http://schemas.openxmlformats.org/drawingml/2006/main" name="1_Office 主题">
  <a:themeElements>
    <a:clrScheme name="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封皮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my sign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42</TotalTime>
  <Words>1516</Words>
  <Application>Microsoft Office PowerPoint</Application>
  <PresentationFormat>Экран (4:3)</PresentationFormat>
  <Paragraphs>527</Paragraphs>
  <Slides>15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24" baseType="lpstr">
      <vt:lpstr>微软雅黑</vt:lpstr>
      <vt:lpstr>宋体</vt:lpstr>
      <vt:lpstr>Arial</vt:lpstr>
      <vt:lpstr>Bahnschrift SemiBold SemiConden</vt:lpstr>
      <vt:lpstr>Calibri</vt:lpstr>
      <vt:lpstr>Calibri Light</vt:lpstr>
      <vt:lpstr>Wingdings</vt:lpstr>
      <vt:lpstr>1_Office 主题</vt:lpstr>
      <vt:lpstr>封皮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rvice Support Plan Chile, Peru</dc:title>
  <dc:creator>陈刚</dc:creator>
  <cp:lastModifiedBy>Игорь А. Горлачев</cp:lastModifiedBy>
  <cp:revision>268</cp:revision>
  <dcterms:created xsi:type="dcterms:W3CDTF">2013-11-15T12:28:47Z</dcterms:created>
  <dcterms:modified xsi:type="dcterms:W3CDTF">2023-04-18T07:28:12Z</dcterms:modified>
</cp:coreProperties>
</file>